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7" r:id="rId8"/>
    <p:sldId id="278" r:id="rId9"/>
    <p:sldId id="272" r:id="rId10"/>
    <p:sldId id="268" r:id="rId11"/>
    <p:sldId id="263" r:id="rId12"/>
    <p:sldId id="275" r:id="rId13"/>
    <p:sldId id="274" r:id="rId14"/>
    <p:sldId id="276" r:id="rId15"/>
    <p:sldId id="270" r:id="rId16"/>
    <p:sldId id="269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2641912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983432" y="5838132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080142" y="5838132"/>
            <a:ext cx="4315681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55348" y="5836186"/>
            <a:ext cx="3168352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Founded in 2014</a:t>
            </a:r>
          </a:p>
          <a:p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Personalizing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93</TotalTime>
  <Words>471</Words>
  <Application>Microsoft Office PowerPoint</Application>
  <PresentationFormat>Widescreen</PresentationFormat>
  <Paragraphs>243</Paragraphs>
  <Slides>16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Approach</vt:lpstr>
      <vt:lpstr>Templafy</vt:lpstr>
      <vt:lpstr>Our Rewrite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02</cp:revision>
  <cp:lastPrinted>2016-09-01T12:11:25Z</cp:lastPrinted>
  <dcterms:created xsi:type="dcterms:W3CDTF">2016-09-08T09:03:45Z</dcterms:created>
  <dcterms:modified xsi:type="dcterms:W3CDTF">2017-03-28T11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